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1990" r:id="rId3"/>
  </p:sldIdLst>
  <p:sldSz cx="12192000" cy="6858000"/>
  <p:notesSz cx="6858000" cy="9144000"/>
  <p:custDataLst>
    <p:tags r:id="rId6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19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41">
          <p15:clr>
            <a:srgbClr val="A4A3A4"/>
          </p15:clr>
        </p15:guide>
        <p15:guide id="2" pos="3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F497D"/>
    <a:srgbClr val="0B79AA"/>
    <a:srgbClr val="CAD1A1"/>
    <a:srgbClr val="4BACC6"/>
    <a:srgbClr val="AABED2"/>
    <a:srgbClr val="0070AD"/>
    <a:srgbClr val="FF7E83"/>
    <a:srgbClr val="2B0A3D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70" autoAdjust="0"/>
    <p:restoredTop sz="93792" autoAdjust="0"/>
  </p:normalViewPr>
  <p:slideViewPr>
    <p:cSldViewPr>
      <p:cViewPr varScale="1">
        <p:scale>
          <a:sx n="80" d="100"/>
          <a:sy n="80" d="100"/>
        </p:scale>
        <p:origin x="739" y="53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hzadi shaikh" userId="52cf294a3682ca91" providerId="LiveId" clId="{D6BF0E08-6FD8-4C49-BB89-AF4D63BC28E0}"/>
    <pc:docChg chg="undo custSel modSld">
      <pc:chgData name="Shahzadi shaikh" userId="52cf294a3682ca91" providerId="LiveId" clId="{D6BF0E08-6FD8-4C49-BB89-AF4D63BC28E0}" dt="2022-06-10T05:34:41.183" v="177" actId="20577"/>
      <pc:docMkLst>
        <pc:docMk/>
      </pc:docMkLst>
      <pc:sldChg chg="addSp delSp modSp mod">
        <pc:chgData name="Shahzadi shaikh" userId="52cf294a3682ca91" providerId="LiveId" clId="{D6BF0E08-6FD8-4C49-BB89-AF4D63BC28E0}" dt="2022-06-10T05:34:41.183" v="177" actId="20577"/>
        <pc:sldMkLst>
          <pc:docMk/>
          <pc:sldMk cId="3363481197" sldId="1990"/>
        </pc:sldMkLst>
        <pc:spChg chg="add mod">
          <ac:chgData name="Shahzadi shaikh" userId="52cf294a3682ca91" providerId="LiveId" clId="{D6BF0E08-6FD8-4C49-BB89-AF4D63BC28E0}" dt="2022-06-10T05:30:30.423" v="37" actId="1076"/>
          <ac:spMkLst>
            <pc:docMk/>
            <pc:sldMk cId="3363481197" sldId="1990"/>
            <ac:spMk id="19" creationId="{8EEEDFD0-1D64-9F3B-6CE5-DDE4706E536F}"/>
          </ac:spMkLst>
        </pc:spChg>
        <pc:spChg chg="add mod">
          <ac:chgData name="Shahzadi shaikh" userId="52cf294a3682ca91" providerId="LiveId" clId="{D6BF0E08-6FD8-4C49-BB89-AF4D63BC28E0}" dt="2022-06-10T05:30:50.153" v="39"/>
          <ac:spMkLst>
            <pc:docMk/>
            <pc:sldMk cId="3363481197" sldId="1990"/>
            <ac:spMk id="20" creationId="{4CE942AD-FA54-31A0-8A73-9F27165DB905}"/>
          </ac:spMkLst>
        </pc:spChg>
        <pc:spChg chg="mod">
          <ac:chgData name="Shahzadi shaikh" userId="52cf294a3682ca91" providerId="LiveId" clId="{D6BF0E08-6FD8-4C49-BB89-AF4D63BC28E0}" dt="2022-06-10T05:33:48.308" v="116" actId="20577"/>
          <ac:spMkLst>
            <pc:docMk/>
            <pc:sldMk cId="3363481197" sldId="1990"/>
            <ac:spMk id="21" creationId="{8A262522-D5A9-4F0C-B7A4-A87A54B833C3}"/>
          </ac:spMkLst>
        </pc:spChg>
        <pc:spChg chg="add del">
          <ac:chgData name="Shahzadi shaikh" userId="52cf294a3682ca91" providerId="LiveId" clId="{D6BF0E08-6FD8-4C49-BB89-AF4D63BC28E0}" dt="2022-06-10T05:34:06.740" v="118" actId="22"/>
          <ac:spMkLst>
            <pc:docMk/>
            <pc:sldMk cId="3363481197" sldId="1990"/>
            <ac:spMk id="22" creationId="{E2F8AFEE-E64D-572D-96C5-8655636D8A83}"/>
          </ac:spMkLst>
        </pc:spChg>
        <pc:spChg chg="add mod">
          <ac:chgData name="Shahzadi shaikh" userId="52cf294a3682ca91" providerId="LiveId" clId="{D6BF0E08-6FD8-4C49-BB89-AF4D63BC28E0}" dt="2022-06-10T05:34:41.183" v="177" actId="20577"/>
          <ac:spMkLst>
            <pc:docMk/>
            <pc:sldMk cId="3363481197" sldId="1990"/>
            <ac:spMk id="23" creationId="{4F975757-77D1-08E1-28F2-7695D95CE05C}"/>
          </ac:spMkLst>
        </pc:spChg>
        <pc:picChg chg="add mod">
          <ac:chgData name="Shahzadi shaikh" userId="52cf294a3682ca91" providerId="LiveId" clId="{D6BF0E08-6FD8-4C49-BB89-AF4D63BC28E0}" dt="2022-06-10T05:30:20.173" v="36" actId="1076"/>
          <ac:picMkLst>
            <pc:docMk/>
            <pc:sldMk cId="3363481197" sldId="1990"/>
            <ac:picMk id="15" creationId="{D261B5F6-FD02-A6C3-9A34-6A979BCBA7D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t>21/06/2022</a:t>
            </a:fld>
            <a:endParaRPr lang="pt-PT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t>21/06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2700" imgH="12700" progId="">
                  <p:embed/>
                </p:oleObj>
              </mc:Choice>
              <mc:Fallback>
                <p:oleObj name="think-cell Slide" r:id="rId5" imgW="12700" imgH="127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1494771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/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/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>
            <a:fillRect/>
          </a:stretch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98144" y="1495447"/>
            <a:ext cx="11813714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/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/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/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-1" fmla="*/ 0 w 3314252"/>
              <a:gd name="connsiteY0-2" fmla="*/ 1564410 h 3128820"/>
              <a:gd name="connsiteX1-3" fmla="*/ 1657126 w 3314252"/>
              <a:gd name="connsiteY1-4" fmla="*/ 0 h 3128820"/>
              <a:gd name="connsiteX2-5" fmla="*/ 3314252 w 3314252"/>
              <a:gd name="connsiteY2-6" fmla="*/ 1564410 h 3128820"/>
              <a:gd name="connsiteX3-7" fmla="*/ 1657126 w 3314252"/>
              <a:gd name="connsiteY3-8" fmla="*/ 3128820 h 3128820"/>
              <a:gd name="connsiteX4-9" fmla="*/ 0 w 3314252"/>
              <a:gd name="connsiteY4-10" fmla="*/ 1564410 h 3128820"/>
              <a:gd name="connsiteX0-11" fmla="*/ 0 w 3314252"/>
              <a:gd name="connsiteY0-12" fmla="*/ 1565821 h 3130231"/>
              <a:gd name="connsiteX1-13" fmla="*/ 1657126 w 3314252"/>
              <a:gd name="connsiteY1-14" fmla="*/ 1411 h 3130231"/>
              <a:gd name="connsiteX2-15" fmla="*/ 3314252 w 3314252"/>
              <a:gd name="connsiteY2-16" fmla="*/ 1565821 h 3130231"/>
              <a:gd name="connsiteX3-17" fmla="*/ 1657126 w 3314252"/>
              <a:gd name="connsiteY3-18" fmla="*/ 3130231 h 3130231"/>
              <a:gd name="connsiteX4-19" fmla="*/ 0 w 3314252"/>
              <a:gd name="connsiteY4-20" fmla="*/ 1565821 h 3130231"/>
              <a:gd name="connsiteX0-21" fmla="*/ 0 w 3314252"/>
              <a:gd name="connsiteY0-22" fmla="*/ 1567937 h 3132347"/>
              <a:gd name="connsiteX1-23" fmla="*/ 1657126 w 3314252"/>
              <a:gd name="connsiteY1-24" fmla="*/ 3527 h 3132347"/>
              <a:gd name="connsiteX2-25" fmla="*/ 3314252 w 3314252"/>
              <a:gd name="connsiteY2-26" fmla="*/ 1567937 h 3132347"/>
              <a:gd name="connsiteX3-27" fmla="*/ 1657126 w 3314252"/>
              <a:gd name="connsiteY3-28" fmla="*/ 3132347 h 3132347"/>
              <a:gd name="connsiteX4-29" fmla="*/ 0 w 3314252"/>
              <a:gd name="connsiteY4-30" fmla="*/ 1567937 h 3132347"/>
              <a:gd name="connsiteX0-31" fmla="*/ 0 w 3314252"/>
              <a:gd name="connsiteY0-32" fmla="*/ 1564505 h 3128915"/>
              <a:gd name="connsiteX1-33" fmla="*/ 1657126 w 3314252"/>
              <a:gd name="connsiteY1-34" fmla="*/ 95 h 3128915"/>
              <a:gd name="connsiteX2-35" fmla="*/ 3314252 w 3314252"/>
              <a:gd name="connsiteY2-36" fmla="*/ 1564505 h 3128915"/>
              <a:gd name="connsiteX3-37" fmla="*/ 1657126 w 3314252"/>
              <a:gd name="connsiteY3-38" fmla="*/ 3128915 h 3128915"/>
              <a:gd name="connsiteX4-39" fmla="*/ 0 w 3314252"/>
              <a:gd name="connsiteY4-40" fmla="*/ 1564505 h 3128915"/>
              <a:gd name="connsiteX0-41" fmla="*/ 0 w 3314252"/>
              <a:gd name="connsiteY0-42" fmla="*/ 1565503 h 3129913"/>
              <a:gd name="connsiteX1-43" fmla="*/ 1657126 w 3314252"/>
              <a:gd name="connsiteY1-44" fmla="*/ 1093 h 3129913"/>
              <a:gd name="connsiteX2-45" fmla="*/ 3314252 w 3314252"/>
              <a:gd name="connsiteY2-46" fmla="*/ 1565503 h 3129913"/>
              <a:gd name="connsiteX3-47" fmla="*/ 1657126 w 3314252"/>
              <a:gd name="connsiteY3-48" fmla="*/ 3129913 h 3129913"/>
              <a:gd name="connsiteX4-49" fmla="*/ 0 w 3314252"/>
              <a:gd name="connsiteY4-50" fmla="*/ 1565503 h 3129913"/>
              <a:gd name="connsiteX0-51" fmla="*/ 0 w 3314252"/>
              <a:gd name="connsiteY0-52" fmla="*/ 1564410 h 3128820"/>
              <a:gd name="connsiteX1-53" fmla="*/ 1657126 w 3314252"/>
              <a:gd name="connsiteY1-54" fmla="*/ 0 h 3128820"/>
              <a:gd name="connsiteX2-55" fmla="*/ 3314252 w 3314252"/>
              <a:gd name="connsiteY2-56" fmla="*/ 1564410 h 3128820"/>
              <a:gd name="connsiteX3-57" fmla="*/ 1657126 w 3314252"/>
              <a:gd name="connsiteY3-58" fmla="*/ 3128820 h 3128820"/>
              <a:gd name="connsiteX4-59" fmla="*/ 0 w 3314252"/>
              <a:gd name="connsiteY4-60" fmla="*/ 1564410 h 3128820"/>
              <a:gd name="connsiteX0-61" fmla="*/ 0 w 3314252"/>
              <a:gd name="connsiteY0-62" fmla="*/ 1564433 h 3128843"/>
              <a:gd name="connsiteX1-63" fmla="*/ 1657126 w 3314252"/>
              <a:gd name="connsiteY1-64" fmla="*/ 23 h 3128843"/>
              <a:gd name="connsiteX2-65" fmla="*/ 3314252 w 3314252"/>
              <a:gd name="connsiteY2-66" fmla="*/ 1564433 h 3128843"/>
              <a:gd name="connsiteX3-67" fmla="*/ 1657126 w 3314252"/>
              <a:gd name="connsiteY3-68" fmla="*/ 3128843 h 3128843"/>
              <a:gd name="connsiteX4-69" fmla="*/ 0 w 3314252"/>
              <a:gd name="connsiteY4-70" fmla="*/ 1564433 h 3128843"/>
              <a:gd name="connsiteX0-71" fmla="*/ 0 w 3314252"/>
              <a:gd name="connsiteY0-72" fmla="*/ 1564433 h 3129053"/>
              <a:gd name="connsiteX1-73" fmla="*/ 1657126 w 3314252"/>
              <a:gd name="connsiteY1-74" fmla="*/ 23 h 3129053"/>
              <a:gd name="connsiteX2-75" fmla="*/ 3314252 w 3314252"/>
              <a:gd name="connsiteY2-76" fmla="*/ 1564433 h 3129053"/>
              <a:gd name="connsiteX3-77" fmla="*/ 1657126 w 3314252"/>
              <a:gd name="connsiteY3-78" fmla="*/ 3128843 h 3129053"/>
              <a:gd name="connsiteX4-79" fmla="*/ 0 w 3314252"/>
              <a:gd name="connsiteY4-80" fmla="*/ 1564433 h 3129053"/>
              <a:gd name="connsiteX0-81" fmla="*/ 0 w 3314252"/>
              <a:gd name="connsiteY0-82" fmla="*/ 1564433 h 3131880"/>
              <a:gd name="connsiteX1-83" fmla="*/ 1657126 w 3314252"/>
              <a:gd name="connsiteY1-84" fmla="*/ 23 h 3131880"/>
              <a:gd name="connsiteX2-85" fmla="*/ 3314252 w 3314252"/>
              <a:gd name="connsiteY2-86" fmla="*/ 1564433 h 3131880"/>
              <a:gd name="connsiteX3-87" fmla="*/ 1657126 w 3314252"/>
              <a:gd name="connsiteY3-88" fmla="*/ 3128843 h 3131880"/>
              <a:gd name="connsiteX4-89" fmla="*/ 0 w 3314252"/>
              <a:gd name="connsiteY4-90" fmla="*/ 1564433 h 3131880"/>
              <a:gd name="connsiteX0-91" fmla="*/ 0 w 3314252"/>
              <a:gd name="connsiteY0-92" fmla="*/ 1564433 h 3131423"/>
              <a:gd name="connsiteX1-93" fmla="*/ 1657126 w 3314252"/>
              <a:gd name="connsiteY1-94" fmla="*/ 23 h 3131423"/>
              <a:gd name="connsiteX2-95" fmla="*/ 3314252 w 3314252"/>
              <a:gd name="connsiteY2-96" fmla="*/ 1564433 h 3131423"/>
              <a:gd name="connsiteX3-97" fmla="*/ 1657126 w 3314252"/>
              <a:gd name="connsiteY3-98" fmla="*/ 3128843 h 3131423"/>
              <a:gd name="connsiteX4-99" fmla="*/ 0 w 3314252"/>
              <a:gd name="connsiteY4-100" fmla="*/ 1564433 h 313142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626268" y="2469484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5157789" y="2538372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evement 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/>
          <p:cNvGrpSpPr/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/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/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/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/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/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133600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362200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87334" y="1533439"/>
            <a:ext cx="5541093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181954" y="1533440"/>
            <a:ext cx="5541093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87334" y="2206953"/>
            <a:ext cx="5541093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181954" y="2208394"/>
            <a:ext cx="5541093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87335" y="1542648"/>
            <a:ext cx="5541093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182332" y="1533439"/>
            <a:ext cx="5541093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348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92348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17054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17054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92348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92348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217054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217054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 hasCustomPrompt="1"/>
          </p:nvPr>
        </p:nvSpPr>
        <p:spPr bwMode="gray">
          <a:xfrm>
            <a:off x="321579" y="990600"/>
            <a:ext cx="11582400" cy="50292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6" name="Rectangle 134"/>
          <p:cNvSpPr>
            <a:spLocks noGrp="1" noChangeArrowheads="1"/>
          </p:cNvSpPr>
          <p:nvPr>
            <p:ph type="title"/>
          </p:nvPr>
        </p:nvSpPr>
        <p:spPr bwMode="gray">
          <a:xfrm>
            <a:off x="321733" y="212730"/>
            <a:ext cx="11618976" cy="5492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101"/>
          <p:cNvSpPr>
            <a:spLocks noGrp="1" noChangeArrowheads="1"/>
          </p:cNvSpPr>
          <p:nvPr>
            <p:ph type="dt" sz="half" idx="10"/>
          </p:nvPr>
        </p:nvSpPr>
        <p:spPr>
          <a:xfrm>
            <a:off x="4572000" y="6533673"/>
            <a:ext cx="3544277" cy="165100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25404F2-BE9A-4460-8815-8F645183555F}" type="datetimeFigureOut">
              <a:rPr lang="en-US" smtClean="0"/>
              <a:t>6/21/2022</a:t>
            </a:fld>
            <a:endParaRPr lang="en-US"/>
          </a:p>
        </p:txBody>
      </p:sp>
      <p:sp>
        <p:nvSpPr>
          <p:cNvPr id="5" name="Rectangle 10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941908" y="6732599"/>
            <a:ext cx="242277" cy="103187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fld id="{96E69268-9C8B-4EBF-A9EE-DC5DC2D48D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12700" imgH="12700" progId="">
                  <p:embed/>
                </p:oleObj>
              </mc:Choice>
              <mc:Fallback>
                <p:oleObj name="think-cell Slide" r:id="rId24" imgW="12700" imgH="127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8" y="4"/>
            <a:ext cx="12191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398028" y="1501977"/>
            <a:ext cx="11616154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Freeform 4"/>
          <p:cNvSpPr/>
          <p:nvPr>
            <p:custDataLst>
              <p:tags r:id="rId21"/>
            </p:custDataLst>
          </p:nvPr>
        </p:nvSpPr>
        <p:spPr bwMode="auto">
          <a:xfrm>
            <a:off x="9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/>
          <a:lstStyle/>
          <a:p>
            <a:endParaRPr lang="fr-FR" sz="1800"/>
          </a:p>
        </p:txBody>
      </p:sp>
      <p:cxnSp>
        <p:nvCxnSpPr>
          <p:cNvPr id="15" name="Straight Connector 5"/>
          <p:cNvCxnSpPr/>
          <p:nvPr>
            <p:custDataLst>
              <p:tags r:id="rId22"/>
            </p:custDataLst>
          </p:nvPr>
        </p:nvCxnSpPr>
        <p:spPr>
          <a:xfrm flipH="1">
            <a:off x="9" y="6362700"/>
            <a:ext cx="12191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6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7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23" name="Rectangle 2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297642" y="6623414"/>
            <a:ext cx="3274639" cy="1835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680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en-US" sz="700" b="0" i="0" noProof="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8. All Rights Reserved</a:t>
            </a:r>
          </a:p>
        </p:txBody>
      </p:sp>
      <p:grpSp>
        <p:nvGrpSpPr>
          <p:cNvPr id="13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8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19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20" name="Retângulo 43"/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4" name="Text Placeholder 7"/>
          <p:cNvSpPr txBox="1"/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resentationTitle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| Author | Date</a:t>
            </a:r>
          </a:p>
        </p:txBody>
      </p:sp>
      <p:grpSp>
        <p:nvGrpSpPr>
          <p:cNvPr id="25" name="Groupe 2"/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26" name="Rectangle 25"/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31" name="Groupe 4"/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32" name="Rectangle 31"/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9055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9055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5" name="Rectangle 34"/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6" name="Rectangle 35"/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8" name="Rectangle 37"/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9" name="Rectangle 38"/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0" name="Rectangle 39"/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1" name="Rectangle 40"/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2" name="Rectangle 41"/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3" name="Rectangle 42"/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4" name="Rectangle 43"/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45" name="Rectangle 44"/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370" indent="-16637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anose="05000000000000000000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725" indent="-193675" algn="l" defTabSz="914400" rtl="0" eaLnBrk="1" latinLnBrk="0" hangingPunct="1">
        <a:spcBef>
          <a:spcPts val="0"/>
        </a:spcBef>
        <a:buClr>
          <a:srgbClr val="B1B1B1"/>
        </a:buClr>
        <a:buFont typeface="Arial" panose="020B0604020202020204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  <p:sp>
          <p:nvSpPr>
            <p:cNvPr id="4110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GB"/>
            </a:p>
          </p:txBody>
        </p:sp>
      </p:grpSp>
      <p:sp>
        <p:nvSpPr>
          <p:cNvPr id="7" name="Retângulo 43"/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/>
          <p:cNvSpPr txBox="1"/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/>
          <p:cNvSpPr txBox="1"/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bhishek311017" TargetMode="External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3B801A-DBB1-4ECB-A836-925B376FB3D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279" y="719363"/>
            <a:ext cx="6056596" cy="321205"/>
          </a:xfrm>
        </p:spPr>
        <p:txBody>
          <a:bodyPr/>
          <a:lstStyle/>
          <a:p>
            <a:r>
              <a:rPr lang="nl-NL" altLang="nl-NL" dirty="0"/>
              <a:t>Analyst/Software Engine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4B484B-B534-46F9-8CED-CA5480C70F7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22688" y="1333234"/>
            <a:ext cx="2373312" cy="221076"/>
          </a:xfrm>
        </p:spPr>
        <p:txBody>
          <a:bodyPr/>
          <a:lstStyle/>
          <a:p>
            <a:r>
              <a:rPr lang="en-IN" dirty="0"/>
              <a:t>Mumbai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BF05442-4A7B-45D2-8761-068F3A7B7E79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93D6B2-9E28-40AE-8EC6-C1BB3C3B913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352483" y="1603736"/>
            <a:ext cx="3590484" cy="349954"/>
          </a:xfrm>
        </p:spPr>
        <p:txBody>
          <a:bodyPr/>
          <a:lstStyle/>
          <a:p>
            <a:r>
              <a:rPr lang="en-IN" dirty="0"/>
              <a:t>SHAHZADI-BEGUM.SHAIKH@CAPGEMINI.COM</a:t>
            </a:r>
          </a:p>
        </p:txBody>
      </p:sp>
      <p:graphicFrame>
        <p:nvGraphicFramePr>
          <p:cNvPr id="11" name="Table 3">
            <a:extLst>
              <a:ext uri="{FF2B5EF4-FFF2-40B4-BE49-F238E27FC236}">
                <a16:creationId xmlns:a16="http://schemas.microsoft.com/office/drawing/2014/main" id="{48F0834A-DCE0-449D-8A43-FA8A036B73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738648"/>
              </p:ext>
            </p:extLst>
          </p:nvPr>
        </p:nvGraphicFramePr>
        <p:xfrm>
          <a:off x="9256160" y="2375213"/>
          <a:ext cx="2935840" cy="298308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9033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5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2227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#Basics,OOPS,Generics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lections,Array,Loops,LINQ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619847"/>
                  </a:ext>
                </a:extLst>
              </a:tr>
              <a:tr h="588874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O.NET,ASP.NET with MVC5 and WEB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,Entity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Framewo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141945"/>
                  </a:ext>
                </a:extLst>
              </a:tr>
              <a:tr h="416153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sic SQL 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8021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I 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9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TML 5 &amp; CSS  3,</a:t>
                      </a:r>
                    </a:p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90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avaScript,Angular</a:t>
                      </a:r>
                      <a:r>
                        <a:rPr kumimoji="0" lang="en-US" sz="9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0938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it,Visual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udio,Visual</a:t>
                      </a: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tudio Cod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36874"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d On skil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yth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EADB50A9-EFEF-418D-9796-7406C5BE3538}"/>
              </a:ext>
            </a:extLst>
          </p:cNvPr>
          <p:cNvSpPr txBox="1">
            <a:spLocks/>
          </p:cNvSpPr>
          <p:nvPr/>
        </p:nvSpPr>
        <p:spPr bwMode="white">
          <a:xfrm>
            <a:off x="3352483" y="1827339"/>
            <a:ext cx="2382837" cy="33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altLang="nl-NL" dirty="0"/>
              <a:t>+91 9623468994</a:t>
            </a:r>
            <a:endParaRPr lang="en-US" altLang="nl-NL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CE827E95-2538-4810-A3F3-4DB7578E5487}"/>
              </a:ext>
            </a:extLst>
          </p:cNvPr>
          <p:cNvSpPr txBox="1">
            <a:spLocks/>
          </p:cNvSpPr>
          <p:nvPr/>
        </p:nvSpPr>
        <p:spPr>
          <a:xfrm flipH="1">
            <a:off x="761999" y="3036713"/>
            <a:ext cx="3823761" cy="298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u="non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200" b="1" dirty="0"/>
              <a:t>  Full Stack Developer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</a:rPr>
              <a:t>Hands on experience on </a:t>
            </a:r>
            <a:r>
              <a:rPr lang="en-US" sz="1200" b="1" dirty="0" err="1">
                <a:cs typeface="Times New Roman" panose="02020603050405020304" pitchFamily="18" charset="0"/>
                <a:sym typeface="+mn-ea"/>
              </a:rPr>
              <a:t>GitHub,SQL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 Server, </a:t>
            </a:r>
            <a:r>
              <a:rPr lang="en-US" sz="1200" b="1" dirty="0" err="1">
                <a:cs typeface="Times New Roman" panose="02020603050405020304" pitchFamily="18" charset="0"/>
              </a:rPr>
              <a:t>C#,JavaScript</a:t>
            </a:r>
            <a:r>
              <a:rPr lang="en-US" sz="1200" b="1" dirty="0"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cs typeface="Times New Roman" panose="02020603050405020304" pitchFamily="18" charset="0"/>
              </a:rPr>
              <a:t>Basics,HTML,CSS,TypeScript</a:t>
            </a:r>
            <a:r>
              <a:rPr lang="en-US" sz="1200" b="1" dirty="0"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cs typeface="Times New Roman" panose="02020603050405020304" pitchFamily="18" charset="0"/>
              </a:rPr>
              <a:t>Baiscs,Angular</a:t>
            </a:r>
            <a:r>
              <a:rPr lang="en-US" sz="1200" b="1" dirty="0"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Some basic experience in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Linux, AWS,    Word Press, C++ </a:t>
            </a:r>
            <a:r>
              <a:rPr lang="en-US" sz="1200" dirty="0">
                <a:cs typeface="Times New Roman" panose="02020603050405020304" pitchFamily="18" charset="0"/>
                <a:sym typeface="+mn-ea"/>
              </a:rPr>
              <a:t>and in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 Python</a:t>
            </a:r>
            <a:endParaRPr lang="en-US" sz="1200" dirty="0">
              <a:cs typeface="Times New Roman" panose="02020603050405020304" pitchFamily="18" charset="0"/>
              <a:sym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Developing web pages using 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HTML5, CSS3,JavaScript,TypeScript,Angular</a:t>
            </a:r>
            <a:endParaRPr lang="en-US" sz="1200" dirty="0">
              <a:cs typeface="Times New Roman" panose="02020603050405020304" pitchFamily="18" charset="0"/>
              <a:sym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Understanding of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Oops Concep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cs typeface="Times New Roman" panose="02020603050405020304" pitchFamily="18" charset="0"/>
                <a:sym typeface="+mn-ea"/>
              </a:rPr>
              <a:t>Completing the course on </a:t>
            </a:r>
            <a:r>
              <a:rPr lang="en-US" sz="1200" b="1" dirty="0">
                <a:cs typeface="Times New Roman" panose="02020603050405020304" pitchFamily="18" charset="0"/>
                <a:sym typeface="+mn-ea"/>
              </a:rPr>
              <a:t>Azure Fundamentals</a:t>
            </a:r>
            <a:r>
              <a:rPr lang="en-US" sz="1200" dirty="0">
                <a:cs typeface="Times New Roman" panose="02020603050405020304" pitchFamily="18" charset="0"/>
                <a:sym typeface="+mn-ea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nl-NL" b="1" dirty="0">
              <a:cs typeface="Times New Roman" panose="02020603050405020304" pitchFamily="18" charset="0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CF76394B-EB48-42CA-86CF-FCDA07CF0969}"/>
              </a:ext>
            </a:extLst>
          </p:cNvPr>
          <p:cNvSpPr txBox="1">
            <a:spLocks/>
          </p:cNvSpPr>
          <p:nvPr/>
        </p:nvSpPr>
        <p:spPr bwMode="white">
          <a:xfrm>
            <a:off x="2468563" y="187771"/>
            <a:ext cx="6223000" cy="306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100" b="1" kern="120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IN" dirty="0"/>
              <a:t>Shahzadi Begum Shaikh Rafiqu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2CD895-1D64-4C40-9B73-9D6ECFD283EE}"/>
              </a:ext>
            </a:extLst>
          </p:cNvPr>
          <p:cNvSpPr/>
          <p:nvPr/>
        </p:nvSpPr>
        <p:spPr>
          <a:xfrm>
            <a:off x="9457890" y="559038"/>
            <a:ext cx="2532379" cy="995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Bachelor of Technology.</a:t>
            </a:r>
          </a:p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mputer Science And  Engineering: (2018-2021)</a:t>
            </a:r>
          </a:p>
          <a:p>
            <a:pPr marL="0" marR="0" lvl="0" indent="0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ertifications: RHCSA and Some Certifications done </a:t>
            </a:r>
            <a:r>
              <a:rPr lang="en-US" altLang="nl-NL" sz="1050" dirty="0">
                <a:solidFill>
                  <a:prstClr val="black"/>
                </a:solidFill>
                <a:latin typeface="Verdana" panose="020B0604030504040204" pitchFamily="34" charset="0"/>
              </a:rPr>
              <a:t>from </a:t>
            </a:r>
            <a:r>
              <a:rPr lang="en-US" altLang="nl-NL" sz="1050" dirty="0" err="1">
                <a:solidFill>
                  <a:prstClr val="black"/>
                </a:solidFill>
                <a:latin typeface="Verdana" panose="020B0604030504040204" pitchFamily="34" charset="0"/>
              </a:rPr>
              <a:t>coursera</a:t>
            </a:r>
            <a:endParaRPr kumimoji="0" lang="en-US" altLang="nl-NL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7A8C88-C38C-42EC-91A8-7C159052BD16}"/>
              </a:ext>
            </a:extLst>
          </p:cNvPr>
          <p:cNvSpPr/>
          <p:nvPr/>
        </p:nvSpPr>
        <p:spPr>
          <a:xfrm>
            <a:off x="10237151" y="1986217"/>
            <a:ext cx="937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200" b="1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kill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pic>
        <p:nvPicPr>
          <p:cNvPr id="26" name="Picture Placeholder 3">
            <a:extLst>
              <a:ext uri="{FF2B5EF4-FFF2-40B4-BE49-F238E27FC236}">
                <a16:creationId xmlns:a16="http://schemas.microsoft.com/office/drawing/2014/main" id="{4FCC9674-353B-4776-9E17-BB9DCF96D8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" t="2144" r="7200" b="909"/>
          <a:stretch/>
        </p:blipFill>
        <p:spPr bwMode="ltGray">
          <a:xfrm rot="16200000">
            <a:off x="336315" y="211974"/>
            <a:ext cx="1848633" cy="1800225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2CC62B04-0A93-4631-9E2D-2AA6E8C17ECC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6576" y="1973470"/>
            <a:ext cx="1800224" cy="32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680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4155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880" indent="-23368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nl-NL" altLang="nl-N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A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262522-D5A9-4F0C-B7A4-A87A54B833C3}"/>
              </a:ext>
            </a:extLst>
          </p:cNvPr>
          <p:cNvSpPr txBox="1"/>
          <p:nvPr/>
        </p:nvSpPr>
        <p:spPr>
          <a:xfrm>
            <a:off x="4644221" y="3084635"/>
            <a:ext cx="405686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b="1" dirty="0">
                <a:latin typeface="+mj-lt"/>
              </a:rPr>
              <a:t>Audio Book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Using Python language created Audio Book’s backend part to convert pdf files into audio files.</a:t>
            </a:r>
          </a:p>
          <a:p>
            <a:endParaRPr lang="en-IN" sz="1200" dirty="0">
              <a:latin typeface="+mj-lt"/>
            </a:endParaRPr>
          </a:p>
          <a:p>
            <a:r>
              <a:rPr lang="en-IN" sz="1200" b="1" dirty="0">
                <a:latin typeface="+mj-lt"/>
              </a:rPr>
              <a:t>Flight Booking System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Completed case study on </a:t>
            </a:r>
            <a:r>
              <a:rPr lang="en-IN" sz="1200" b="1" dirty="0">
                <a:latin typeface="+mj-lt"/>
              </a:rPr>
              <a:t>Online</a:t>
            </a:r>
            <a:r>
              <a:rPr lang="en-IN" sz="1200" dirty="0">
                <a:latin typeface="+mj-lt"/>
              </a:rPr>
              <a:t> </a:t>
            </a:r>
            <a:r>
              <a:rPr lang="en-IN" sz="1200" b="1" dirty="0">
                <a:latin typeface="+mj-lt"/>
              </a:rPr>
              <a:t>Flight Booking System </a:t>
            </a:r>
            <a:r>
              <a:rPr lang="en-IN" sz="1200" dirty="0">
                <a:latin typeface="+mj-lt"/>
              </a:rPr>
              <a:t>which is a web based system where passenger can easily do </a:t>
            </a:r>
            <a:r>
              <a:rPr lang="en-IN" sz="1200" dirty="0" err="1">
                <a:latin typeface="+mj-lt"/>
              </a:rPr>
              <a:t>Signup,Login</a:t>
            </a:r>
            <a:r>
              <a:rPr lang="en-IN" sz="1200" dirty="0">
                <a:latin typeface="+mj-lt"/>
              </a:rPr>
              <a:t>, Searching Flight then Ticket booking after that one reference number is generated using that number can check the details of the passeng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dirty="0">
                <a:latin typeface="+mj-lt"/>
              </a:rPr>
              <a:t>Created this system using </a:t>
            </a:r>
            <a:r>
              <a:rPr lang="en-IN" sz="1200" b="1" dirty="0">
                <a:latin typeface="+mj-lt"/>
              </a:rPr>
              <a:t>Angular</a:t>
            </a:r>
            <a:r>
              <a:rPr lang="en-IN" sz="1200" dirty="0">
                <a:latin typeface="+mj-lt"/>
              </a:rPr>
              <a:t> as frontend </a:t>
            </a:r>
            <a:r>
              <a:rPr lang="en-IN" sz="1200" b="1" dirty="0" err="1">
                <a:latin typeface="+mj-lt"/>
              </a:rPr>
              <a:t>Webapi</a:t>
            </a:r>
            <a:r>
              <a:rPr lang="en-IN" sz="1200" b="1" dirty="0">
                <a:latin typeface="+mj-lt"/>
              </a:rPr>
              <a:t> dot net core </a:t>
            </a:r>
            <a:r>
              <a:rPr lang="en-IN" sz="1200" dirty="0">
                <a:latin typeface="+mj-lt"/>
              </a:rPr>
              <a:t>as backend and using</a:t>
            </a:r>
            <a:r>
              <a:rPr lang="en-IN" sz="1200" b="1" dirty="0">
                <a:latin typeface="+mj-lt"/>
              </a:rPr>
              <a:t> SQL </a:t>
            </a:r>
            <a:r>
              <a:rPr lang="en-IN" sz="1200" dirty="0">
                <a:latin typeface="+mj-lt"/>
              </a:rPr>
              <a:t>for store the details of the passenger.</a:t>
            </a:r>
          </a:p>
        </p:txBody>
      </p:sp>
      <p:pic>
        <p:nvPicPr>
          <p:cNvPr id="15" name="Picture 14">
            <a:hlinkClick r:id="rId3"/>
            <a:extLst>
              <a:ext uri="{FF2B5EF4-FFF2-40B4-BE49-F238E27FC236}">
                <a16:creationId xmlns:a16="http://schemas.microsoft.com/office/drawing/2014/main" id="{D261B5F6-FD02-A6C3-9A34-6A979BCBA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712984" y="6198743"/>
            <a:ext cx="537379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3">
            <a:extLst>
              <a:ext uri="{FF2B5EF4-FFF2-40B4-BE49-F238E27FC236}">
                <a16:creationId xmlns:a16="http://schemas.microsoft.com/office/drawing/2014/main" id="{8EEEDFD0-1D64-9F3B-6CE5-DDE4706E53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8094" y="6308571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https://github.com/Shahzadi-Shaikh</a:t>
            </a:r>
          </a:p>
        </p:txBody>
      </p:sp>
      <p:sp>
        <p:nvSpPr>
          <p:cNvPr id="23" name="TextBox 3">
            <a:extLst>
              <a:ext uri="{FF2B5EF4-FFF2-40B4-BE49-F238E27FC236}">
                <a16:creationId xmlns:a16="http://schemas.microsoft.com/office/drawing/2014/main" id="{4F975757-77D1-08E1-28F2-7695D95CE0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6800" y="6308571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IN" altLang="en-US" sz="1100" dirty="0">
                <a:solidFill>
                  <a:prstClr val="black"/>
                </a:solidFill>
                <a:latin typeface="Verdana" panose="020B0604030504040204" pitchFamily="34" charset="0"/>
              </a:rPr>
              <a:t>Video Link : </a:t>
            </a:r>
            <a:endParaRPr kumimoji="0" lang="en-IN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481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1_CG_2012_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_Capgemini-2020 (7)</Template>
  <TotalTime>360</TotalTime>
  <Words>277</Words>
  <Application>Microsoft Office PowerPoint</Application>
  <PresentationFormat>Widescreen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Verdana</vt:lpstr>
      <vt:lpstr>Wingdings</vt:lpstr>
      <vt:lpstr>1_CG_2012_Template</vt:lpstr>
      <vt:lpstr>2_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apat, Rashmi</dc:creator>
  <cp:lastModifiedBy>Shahzadi shaikh</cp:lastModifiedBy>
  <cp:revision>136</cp:revision>
  <dcterms:created xsi:type="dcterms:W3CDTF">2020-09-22T06:24:00Z</dcterms:created>
  <dcterms:modified xsi:type="dcterms:W3CDTF">2022-06-21T05:4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3155D503BFC942A57BA969F1C4EED5</vt:lpwstr>
  </property>
  <property fmtid="{D5CDD505-2E9C-101B-9397-08002B2CF9AE}" pid="3" name="KSOProductBuildVer">
    <vt:lpwstr>1033-11.2.0.10152</vt:lpwstr>
  </property>
</Properties>
</file>